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65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  <p:guide pos="3840"/>
        <p:guide pos="656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Weigel Stefan (PAR-EPS)" userId="fd3b2067-2981-4ad8-bf3a-d2e1004e4fa8" providerId="ADAL" clId="{D8219C7F-2CE1-4E00-BE73-55888F1AF466}"/>
    <pc:docChg chg="modSld">
      <pc:chgData name="Weigel Stefan (PAR-EPS)" userId="fd3b2067-2981-4ad8-bf3a-d2e1004e4fa8" providerId="ADAL" clId="{D8219C7F-2CE1-4E00-BE73-55888F1AF466}" dt="2025-02-24T10:52:28.138" v="4" actId="27918"/>
      <pc:docMkLst>
        <pc:docMk/>
      </pc:docMkLst>
      <pc:sldChg chg="mod">
        <pc:chgData name="Weigel Stefan (PAR-EPS)" userId="fd3b2067-2981-4ad8-bf3a-d2e1004e4fa8" providerId="ADAL" clId="{D8219C7F-2CE1-4E00-BE73-55888F1AF466}" dt="2025-02-24T10:52:28.138" v="4" actId="27918"/>
        <pc:sldMkLst>
          <pc:docMk/>
          <pc:sldMk cId="1774855510" sldId="414"/>
        </pc:sldMkLst>
      </pc:sldChg>
    </pc:docChg>
  </pc:docChgLst>
  <pc:docChgLst>
    <pc:chgData name="Weigel Stefan (PAR-EPS)" userId="fd3b2067-2981-4ad8-bf3a-d2e1004e4fa8" providerId="ADAL" clId="{41F84814-386E-4FDF-802C-AB49F22EA5D5}"/>
    <pc:docChg chg="custSel modSld">
      <pc:chgData name="Weigel Stefan (PAR-EPS)" userId="fd3b2067-2981-4ad8-bf3a-d2e1004e4fa8" providerId="ADAL" clId="{41F84814-386E-4FDF-802C-AB49F22EA5D5}" dt="2024-04-26T06:32:29.476" v="75" actId="692"/>
      <pc:docMkLst>
        <pc:docMk/>
      </pc:docMkLst>
      <pc:sldChg chg="delSp modSp mod">
        <pc:chgData name="Weigel Stefan (PAR-EPS)" userId="fd3b2067-2981-4ad8-bf3a-d2e1004e4fa8" providerId="ADAL" clId="{41F84814-386E-4FDF-802C-AB49F22EA5D5}" dt="2024-04-26T06:32:29.476" v="75" actId="692"/>
        <pc:sldMkLst>
          <pc:docMk/>
          <pc:sldMk cId="1774855510" sldId="414"/>
        </pc:sldMkLst>
        <pc:spChg chg="del">
          <ac:chgData name="Weigel Stefan (PAR-EPS)" userId="fd3b2067-2981-4ad8-bf3a-d2e1004e4fa8" providerId="ADAL" clId="{41F84814-386E-4FDF-802C-AB49F22EA5D5}" dt="2024-04-26T06:26:38.644" v="71" actId="478"/>
          <ac:spMkLst>
            <pc:docMk/>
            <pc:sldMk cId="1774855510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41F84814-386E-4FDF-802C-AB49F22EA5D5}" dt="2024-04-26T06:27:21.455" v="74" actId="1036"/>
          <ac:spMkLst>
            <pc:docMk/>
            <pc:sldMk cId="1774855510" sldId="414"/>
            <ac:spMk id="7" creationId="{997E4419-A7A8-4264-97B0-3A44B665821E}"/>
          </ac:spMkLst>
        </pc:spChg>
        <pc:graphicFrameChg chg="mod">
          <ac:chgData name="Weigel Stefan (PAR-EPS)" userId="fd3b2067-2981-4ad8-bf3a-d2e1004e4fa8" providerId="ADAL" clId="{41F84814-386E-4FDF-802C-AB49F22EA5D5}" dt="2024-04-26T06:32:29.476" v="75" actId="692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5949BB64-F7B7-48C9-A73E-EC3D698510C6}"/>
    <pc:docChg chg="modSld">
      <pc:chgData name="Weigel Stefan (PAR-EPS)" userId="fd3b2067-2981-4ad8-bf3a-d2e1004e4fa8" providerId="ADAL" clId="{5949BB64-F7B7-48C9-A73E-EC3D698510C6}" dt="2024-02-02T10:55:53.363" v="67" actId="27918"/>
      <pc:docMkLst>
        <pc:docMk/>
      </pc:docMkLst>
      <pc:sldChg chg="mod">
        <pc:chgData name="Weigel Stefan (PAR-EPS)" userId="fd3b2067-2981-4ad8-bf3a-d2e1004e4fa8" providerId="ADAL" clId="{5949BB64-F7B7-48C9-A73E-EC3D698510C6}" dt="2024-02-02T10:55:53.363" v="67" actId="27918"/>
        <pc:sldMkLst>
          <pc:docMk/>
          <pc:sldMk cId="1774855510" sldId="414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C61557F-30AA-42DD-8CC5-77D7B0938EAA}"/>
    <pc:docChg chg="modSld">
      <pc:chgData name="Meyer Raphael (PAR-ES)" userId="79615dfe-ed48-4e74-a40f-4f7b034c1c27" providerId="ADAL" clId="{FC61557F-30AA-42DD-8CC5-77D7B0938EAA}" dt="2023-02-24T13:47:08.745" v="3" actId="27918"/>
      <pc:docMkLst>
        <pc:docMk/>
      </pc:docMkLst>
      <pc:sldChg chg="mod">
        <pc:chgData name="Meyer Raphael (PAR-ES)" userId="79615dfe-ed48-4e74-a40f-4f7b034c1c27" providerId="ADAL" clId="{FC61557F-30AA-42DD-8CC5-77D7B0938EAA}" dt="2023-02-24T13:47:08.745" v="3" actId="27918"/>
        <pc:sldMkLst>
          <pc:docMk/>
          <pc:sldMk cId="1774855510" sldId="414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eneralabonnement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6B75-4393-86B0-9F7F319FC433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5277399999999995</c:v>
                </c:pt>
                <c:pt idx="1">
                  <c:v>0.46013499999999996</c:v>
                </c:pt>
                <c:pt idx="2">
                  <c:v>0.47218299999999996</c:v>
                </c:pt>
                <c:pt idx="3">
                  <c:v>0.48016999999999999</c:v>
                </c:pt>
                <c:pt idx="4">
                  <c:v>0.490205</c:v>
                </c:pt>
                <c:pt idx="5">
                  <c:v>0.49952999999999997</c:v>
                </c:pt>
                <c:pt idx="6">
                  <c:v>0.43870999999999999</c:v>
                </c:pt>
                <c:pt idx="7">
                  <c:v>0.40637099999999998</c:v>
                </c:pt>
                <c:pt idx="8">
                  <c:v>0.43076799999999998</c:v>
                </c:pt>
                <c:pt idx="9">
                  <c:v>0.44716599999999995</c:v>
                </c:pt>
                <c:pt idx="10">
                  <c:v>0.424864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lbtaxabonnement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6B75-4393-86B0-9F7F319FC433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43696</c:v>
                </c:pt>
                <c:pt idx="1">
                  <c:v>2.3324039999999999</c:v>
                </c:pt>
                <c:pt idx="2">
                  <c:v>2.3949219999999998</c:v>
                </c:pt>
                <c:pt idx="3">
                  <c:v>2.5310319999999997</c:v>
                </c:pt>
                <c:pt idx="4">
                  <c:v>2.597655</c:v>
                </c:pt>
                <c:pt idx="5">
                  <c:v>2.7219449999999998</c:v>
                </c:pt>
                <c:pt idx="6">
                  <c:v>2.720812</c:v>
                </c:pt>
                <c:pt idx="7">
                  <c:v>2.828964</c:v>
                </c:pt>
                <c:pt idx="8">
                  <c:v>2.9686149999999998</c:v>
                </c:pt>
                <c:pt idx="9">
                  <c:v>3.1466789999999998</c:v>
                </c:pt>
                <c:pt idx="10">
                  <c:v>3.338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2"/>
            </a:solidFill>
          </a:ln>
        </c:spPr>
        <c:txPr>
          <a:bodyPr rot="0" vert="horz"/>
          <a:lstStyle/>
          <a:p>
            <a:pPr>
              <a:defRPr sz="1100"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7855268282885225E-2"/>
          <c:y val="0.82582619369142318"/>
          <c:w val="0.44396953028162695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20045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4881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chemeClr val="tx2"/>
              </a:solidFill>
              <a:cs typeface="Arial" pitchFamily="34" charset="0"/>
            </a:rPr>
            <a:t>Millionen Abonnemen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ammkundschaf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291474536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Generalabonnemente und Halbtaxabonnemente des Direkten Verkehrs Schweiz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1795" y="55709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74855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7479A5B-A14D-479C-84BA-390689C1AE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ammkundschaf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mmkundschaft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